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1676" r:id="rId2"/>
    <p:sldId id="1663" r:id="rId3"/>
    <p:sldId id="1677" r:id="rId4"/>
    <p:sldId id="1678" r:id="rId5"/>
    <p:sldId id="1679" r:id="rId6"/>
    <p:sldId id="1683" r:id="rId7"/>
    <p:sldId id="1682" r:id="rId8"/>
    <p:sldId id="1680" r:id="rId9"/>
    <p:sldId id="1681" r:id="rId10"/>
    <p:sldId id="1633" r:id="rId11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B263A"/>
    <a:srgbClr val="0070C0"/>
    <a:srgbClr val="C1D3DD"/>
    <a:srgbClr val="FF6600"/>
    <a:srgbClr val="EDBD95"/>
    <a:srgbClr val="DFC597"/>
    <a:srgbClr val="CDCB99"/>
    <a:srgbClr val="A1A1A1"/>
    <a:srgbClr val="595959"/>
    <a:srgbClr val="C332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883C888-0B4D-4C83-688C-EC36D9C66440}" v="2" dt="2025-05-05T02:20:18.86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592" y="64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20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8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22/08/2025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51D801BC-A339-CC2B-EA8A-E9C93D00272D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phic 2">
            <a:extLst>
              <a:ext uri="{FF2B5EF4-FFF2-40B4-BE49-F238E27FC236}">
                <a16:creationId xmlns:a16="http://schemas.microsoft.com/office/drawing/2014/main" id="{0C0C32E7-B291-2245-4C42-04163CDC86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F19A30-0576-2545-8734-9B03AF70B1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996F1D3-05C1-8FA0-FDDC-98A67040A1E4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C66A050D-335D-6674-285C-7F16BF6B73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44375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8F59DB-985C-DF9B-E36B-040F0A5C5FC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38628C0-009A-5274-9A07-6FC3CCB008E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D3247F-2B9E-3CF9-9F53-4B2B5F00EB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B558A-3A50-495C-9BF4-E89F5705CCE6}" type="datetimeFigureOut">
              <a:rPr lang="en-IN" smtClean="0"/>
              <a:t>22-08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A43F04-71D2-6B6A-FEF0-63204096A0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9F9C84-8F19-828F-2597-635717DBD4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841102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50720B-E183-E19C-C343-ECD490C8DB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78D5F7-7A10-E6CC-5CC9-DA5332779E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94B226-F620-8F67-9BA8-41C8BC7B80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B558A-3A50-495C-9BF4-E89F5705CCE6}" type="datetimeFigureOut">
              <a:rPr lang="en-IN" smtClean="0"/>
              <a:t>22-08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391E7D-6DD1-73E1-A2EC-AB37C294C1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8AD163-C71B-B1B6-17B2-703BDD2D6C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‹#›</a:t>
            </a:fld>
            <a:endParaRPr lang="en-IN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207062D-1385-7310-66E0-939D39DD69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8636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  <p:sldLayoutId id="2147483667" r:id="rId14"/>
    <p:sldLayoutId id="2147483668" r:id="rId15"/>
    <p:sldLayoutId id="2147483669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>
            <a:extLst>
              <a:ext uri="{FF2B5EF4-FFF2-40B4-BE49-F238E27FC236}">
                <a16:creationId xmlns:a16="http://schemas.microsoft.com/office/drawing/2014/main" id="{AE6FF297-3495-495E-A602-117FEE56FBF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2334" y="4544698"/>
            <a:ext cx="6259003" cy="424732"/>
          </a:xfrm>
        </p:spPr>
        <p:txBody>
          <a:bodyPr/>
          <a:lstStyle/>
          <a:p>
            <a:r>
              <a:rPr lang="en-US">
                <a:latin typeface="Bogle" panose="020B0503020203060203" pitchFamily="34" charset="0"/>
              </a:rPr>
              <a:t>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9615" y="2622542"/>
            <a:ext cx="10525125" cy="1678408"/>
          </a:xfrm>
        </p:spPr>
        <p:txBody>
          <a:bodyPr anchor="b">
            <a:spAutoFit/>
          </a:bodyPr>
          <a:lstStyle/>
          <a:p>
            <a:endParaRPr lang="en-US" sz="3200" dirty="0">
              <a:latin typeface="Bogle" panose="020B0503020203060203" pitchFamily="34" charset="0"/>
            </a:endParaRPr>
          </a:p>
          <a:p>
            <a:r>
              <a:rPr lang="en-US" sz="3200" dirty="0">
                <a:latin typeface="Bogle" panose="020B0503020203060203" pitchFamily="34" charset="0"/>
              </a:rPr>
              <a:t>Capstone Project</a:t>
            </a:r>
          </a:p>
          <a:p>
            <a:endParaRPr lang="en-US" sz="3200" dirty="0">
              <a:latin typeface="Bogle" panose="020B0503020203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8428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535531"/>
          </a:xfrm>
        </p:spPr>
        <p:txBody>
          <a:bodyPr/>
          <a:lstStyle/>
          <a:p>
            <a:pPr algn="ctr"/>
            <a:r>
              <a:rPr lang="en-US" sz="3200">
                <a:latin typeface="Bogle" panose="020B0503020203060203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4946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gle" panose="020B0503020203060203" pitchFamily="34" charset="0"/>
              </a:rPr>
              <a:t>Agenda</a:t>
            </a:r>
            <a:endParaRPr lang="en-IN" sz="2400" b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ogle" panose="020B0503020203060203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025876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  <a:latin typeface="Bogle" panose="020B0503020203060203" pitchFamily="34" charset="0"/>
              </a:rPr>
              <a:t>Introduction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  <a:latin typeface="Bogle" panose="020B0503020203060203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  <a:latin typeface="Bogle" panose="020B0503020203060203" pitchFamily="34" charset="0"/>
              </a:rPr>
              <a:t>Capstone Project Overview</a:t>
            </a:r>
          </a:p>
          <a:p>
            <a:endParaRPr lang="en-US" sz="2000" dirty="0">
              <a:solidFill>
                <a:schemeClr val="tx1"/>
              </a:solidFill>
              <a:latin typeface="Bogle" panose="020B0503020203060203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  <a:latin typeface="Bogle" panose="020B0503020203060203" pitchFamily="34" charset="0"/>
              </a:rPr>
              <a:t>Scope and Objective</a:t>
            </a:r>
          </a:p>
          <a:p>
            <a:endParaRPr lang="en-US" sz="2000" dirty="0">
              <a:solidFill>
                <a:schemeClr val="tx1"/>
              </a:solidFill>
              <a:latin typeface="Bogle" panose="020B0503020203060203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  <a:latin typeface="Bogle" panose="020B0503020203060203" pitchFamily="34" charset="0"/>
              </a:rPr>
              <a:t>Capstone Project solution design &amp; solution implementation </a:t>
            </a:r>
          </a:p>
          <a:p>
            <a:r>
              <a:rPr lang="en-US" sz="2000" dirty="0">
                <a:solidFill>
                  <a:schemeClr val="tx1"/>
                </a:solidFill>
                <a:latin typeface="Bogle" panose="020B0503020203060203" pitchFamily="34" charset="0"/>
              </a:rPr>
              <a:t>		Diagrams ( Architecture / Use Case /Class Diagrams / Sequence ) &amp; Screen shots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  <a:latin typeface="Bogle" panose="020B0503020203060203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  <a:latin typeface="Bogle" panose="020B0503020203060203" pitchFamily="34" charset="0"/>
              </a:rPr>
              <a:t>Technology Stack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  <a:latin typeface="Bogle" panose="020B0503020203060203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  <a:latin typeface="Bogle" panose="020B0503020203060203" pitchFamily="34" charset="0"/>
              </a:rPr>
              <a:t>Best Practices followed during solution implementation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  <a:latin typeface="Bogle" panose="020B0503020203060203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  <a:latin typeface="Bogle" panose="020B0503020203060203" pitchFamily="34" charset="0"/>
              </a:rPr>
              <a:t>Challenges faced during solution design &amp; solution implementation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  <a:latin typeface="Bogle" panose="020B0503020203060203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  <a:latin typeface="Bogle" panose="020B0503020203060203" pitchFamily="34" charset="0"/>
              </a:rPr>
              <a:t>Learnings &amp; Experiences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  <a:latin typeface="Bogle" panose="020B0503020203060203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  <a:latin typeface="Bogle" panose="020B0503020203060203" pitchFamily="34" charset="0"/>
              </a:rPr>
              <a:t>Future Scope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  <a:latin typeface="Bogle" panose="020B0503020203060203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  <a:latin typeface="Bogle" panose="020B0503020203060203" pitchFamily="34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1187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55D8818-ECD9-0982-14FC-7ED0FB92CBE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3</a:t>
            </a:fld>
            <a:endParaRPr lang="en-IN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2D61519-249A-6BFD-9A12-9F97318D877D}"/>
              </a:ext>
            </a:extLst>
          </p:cNvPr>
          <p:cNvSpPr txBox="1"/>
          <p:nvPr/>
        </p:nvSpPr>
        <p:spPr>
          <a:xfrm>
            <a:off x="668065" y="433633"/>
            <a:ext cx="10314162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Introduction</a:t>
            </a:r>
            <a:br>
              <a:rPr lang="en-US" dirty="0"/>
            </a:br>
            <a:r>
              <a:rPr lang="en-US" dirty="0"/>
              <a:t>A capstone project demonstrating a modern Digital Bank Customer Portal.</a:t>
            </a:r>
            <a:br>
              <a:rPr lang="en-US" dirty="0"/>
            </a:br>
            <a:r>
              <a:rPr lang="en-US" dirty="0"/>
              <a:t>Built with a secure, scalable, and user-friendly architecture.</a:t>
            </a:r>
            <a:br>
              <a:rPr lang="en-US" dirty="0"/>
            </a:br>
            <a:r>
              <a:rPr lang="en-US" dirty="0"/>
              <a:t>Focuses on real-world digital banking use cases.</a:t>
            </a:r>
          </a:p>
          <a:p>
            <a:endParaRPr lang="en-US" dirty="0"/>
          </a:p>
          <a:p>
            <a:r>
              <a:rPr lang="en-US" sz="2400" b="1" dirty="0"/>
              <a:t>Capstone Project Overview</a:t>
            </a:r>
          </a:p>
          <a:p>
            <a:br>
              <a:rPr lang="en-US" dirty="0"/>
            </a:br>
            <a:r>
              <a:rPr lang="en-US" dirty="0"/>
              <a:t>Portal allows customer registration, login, account management, and transactions.</a:t>
            </a:r>
            <a:br>
              <a:rPr lang="en-US" dirty="0"/>
            </a:br>
            <a:r>
              <a:rPr lang="en-US" dirty="0"/>
              <a:t>Implements microservices with PostgreSQL backend and React frontend.</a:t>
            </a:r>
            <a:br>
              <a:rPr lang="en-US" dirty="0"/>
            </a:br>
            <a:r>
              <a:rPr lang="en-US" dirty="0"/>
              <a:t>Ensures convenience for customers and efficiency for bank operations.</a:t>
            </a:r>
          </a:p>
          <a:p>
            <a:endParaRPr lang="en-US" dirty="0"/>
          </a:p>
          <a:p>
            <a:r>
              <a:rPr lang="en-US" sz="2400" b="1" dirty="0"/>
              <a:t>Scope and Objective</a:t>
            </a:r>
          </a:p>
          <a:p>
            <a:br>
              <a:rPr lang="en-US" dirty="0"/>
            </a:br>
            <a:r>
              <a:rPr lang="en-US" dirty="0"/>
              <a:t>Scope includes authentication, accounts, transactions, and loans.</a:t>
            </a:r>
            <a:br>
              <a:rPr lang="en-US" dirty="0"/>
            </a:br>
            <a:r>
              <a:rPr lang="en-US" dirty="0"/>
              <a:t>Objective is to provide a secure and maintainable banking portal.</a:t>
            </a:r>
            <a:br>
              <a:rPr lang="en-US" dirty="0"/>
            </a:br>
            <a:r>
              <a:rPr lang="en-US" dirty="0"/>
              <a:t>Lays the foundation for future advanced features.</a:t>
            </a:r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30255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4BCAE51-C2B1-67B7-97B0-6F74E92F4EE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CE1EB7F-A35D-8C9A-6D8C-CC4F4B0334B1}"/>
              </a:ext>
            </a:extLst>
          </p:cNvPr>
          <p:cNvSpPr txBox="1"/>
          <p:nvPr/>
        </p:nvSpPr>
        <p:spPr>
          <a:xfrm>
            <a:off x="490194" y="461913"/>
            <a:ext cx="11189616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/>
              <a:t>Solution Design &amp; Implementation</a:t>
            </a:r>
          </a:p>
          <a:p>
            <a:br>
              <a:rPr lang="en-IN" dirty="0"/>
            </a:br>
            <a:r>
              <a:rPr lang="en-IN" dirty="0"/>
              <a:t>Designed with ER, architecture, class, and sequence diagrams.</a:t>
            </a:r>
            <a:br>
              <a:rPr lang="en-IN" dirty="0"/>
            </a:br>
            <a:r>
              <a:rPr lang="en-IN" dirty="0"/>
              <a:t>Implemented with modular backend, PostgreSQL schema, and React UI.</a:t>
            </a:r>
            <a:br>
              <a:rPr lang="en-IN" dirty="0"/>
            </a:br>
            <a:r>
              <a:rPr lang="en-IN" dirty="0"/>
              <a:t>Screenshots illustrate the portal’s functionality and flow.</a:t>
            </a:r>
          </a:p>
          <a:p>
            <a:endParaRPr lang="en-IN" dirty="0"/>
          </a:p>
          <a:p>
            <a:r>
              <a:rPr lang="en-IN" sz="2400" b="1" dirty="0"/>
              <a:t>Technology Stack</a:t>
            </a:r>
          </a:p>
          <a:p>
            <a:br>
              <a:rPr lang="en-IN" dirty="0"/>
            </a:br>
            <a:r>
              <a:rPr lang="en-IN" dirty="0"/>
              <a:t>Backend: Node.js, Prisma ORM, PostgreSQL.</a:t>
            </a:r>
            <a:br>
              <a:rPr lang="en-IN" dirty="0"/>
            </a:br>
            <a:r>
              <a:rPr lang="en-IN" dirty="0"/>
              <a:t>Frontend: React with reusable components.</a:t>
            </a:r>
            <a:br>
              <a:rPr lang="en-IN" dirty="0"/>
            </a:br>
            <a:r>
              <a:rPr lang="en-IN" dirty="0"/>
              <a:t>Tools: JWT, REST APIs, GitHub version control.</a:t>
            </a:r>
          </a:p>
          <a:p>
            <a:endParaRPr lang="en-IN" dirty="0"/>
          </a:p>
          <a:p>
            <a:r>
              <a:rPr lang="en-IN" sz="2400" b="1" dirty="0"/>
              <a:t>Best Practices</a:t>
            </a:r>
          </a:p>
          <a:p>
            <a:br>
              <a:rPr lang="en-IN" dirty="0"/>
            </a:br>
            <a:r>
              <a:rPr lang="en-IN" dirty="0"/>
              <a:t>Followed modular design and clean folder structure.</a:t>
            </a:r>
            <a:br>
              <a:rPr lang="en-IN" dirty="0"/>
            </a:br>
            <a:r>
              <a:rPr lang="en-IN" dirty="0"/>
              <a:t>Applied input validation, password hashing, and secure coding.</a:t>
            </a:r>
            <a:br>
              <a:rPr lang="en-IN" dirty="0"/>
            </a:br>
            <a:r>
              <a:rPr lang="en-IN" dirty="0"/>
              <a:t>Maintained GitHub commits and schema normalization.</a:t>
            </a:r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658311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389CE50-BC67-2E70-B949-5FFBCAB433F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61D053C-3248-F22B-6E75-039C85B283C4}"/>
              </a:ext>
            </a:extLst>
          </p:cNvPr>
          <p:cNvSpPr txBox="1"/>
          <p:nvPr/>
        </p:nvSpPr>
        <p:spPr>
          <a:xfrm>
            <a:off x="298202" y="329938"/>
            <a:ext cx="11457023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Challenges Faced</a:t>
            </a:r>
          </a:p>
          <a:p>
            <a:br>
              <a:rPr lang="en-US" dirty="0"/>
            </a:br>
            <a:r>
              <a:rPr lang="en-US" dirty="0"/>
              <a:t>Designing a normalized yet practical database schema.</a:t>
            </a:r>
            <a:br>
              <a:rPr lang="en-US" dirty="0"/>
            </a:br>
            <a:r>
              <a:rPr lang="en-US" dirty="0"/>
              <a:t>Making a proper friendly UI that can be easily understood by people of all ages.</a:t>
            </a:r>
            <a:br>
              <a:rPr lang="en-US" dirty="0"/>
            </a:br>
            <a:r>
              <a:rPr lang="en-US" dirty="0"/>
              <a:t>Integrating backend APIs with frontend components.</a:t>
            </a:r>
          </a:p>
          <a:p>
            <a:endParaRPr lang="en-US" dirty="0"/>
          </a:p>
          <a:p>
            <a:r>
              <a:rPr lang="en-US" sz="2400" b="1" dirty="0"/>
              <a:t>Learnings &amp; Experiences</a:t>
            </a:r>
          </a:p>
          <a:p>
            <a:br>
              <a:rPr lang="en-US" dirty="0"/>
            </a:br>
            <a:r>
              <a:rPr lang="en-US" dirty="0"/>
              <a:t>Hands-on experience with designing UI/UX and react.</a:t>
            </a:r>
            <a:br>
              <a:rPr lang="en-US" dirty="0"/>
            </a:br>
            <a:r>
              <a:rPr lang="en-US" dirty="0"/>
              <a:t>Improved collaboration and problem-solving as a team.</a:t>
            </a:r>
            <a:br>
              <a:rPr lang="en-US" dirty="0"/>
            </a:br>
            <a:r>
              <a:rPr lang="en-US" dirty="0"/>
              <a:t>Gained exposure to real-world digital banking workflows.</a:t>
            </a:r>
          </a:p>
          <a:p>
            <a:endParaRPr lang="en-US" dirty="0"/>
          </a:p>
          <a:p>
            <a:r>
              <a:rPr lang="en-US" sz="2400" b="1" dirty="0"/>
              <a:t>Future Scope</a:t>
            </a:r>
          </a:p>
          <a:p>
            <a:br>
              <a:rPr lang="en-US" dirty="0"/>
            </a:br>
            <a:r>
              <a:rPr lang="en-US" dirty="0"/>
              <a:t>Add fund transfers, chatbot support, and cloud deployment.</a:t>
            </a:r>
            <a:br>
              <a:rPr lang="en-US" dirty="0"/>
            </a:br>
            <a:r>
              <a:rPr lang="en-US" dirty="0"/>
              <a:t>Integrate analytics and notifications.</a:t>
            </a:r>
            <a:br>
              <a:rPr lang="en-US" dirty="0"/>
            </a:br>
            <a:r>
              <a:rPr lang="en-US" dirty="0"/>
              <a:t>Expand to a full-featured, future-ready banking solution.</a:t>
            </a:r>
          </a:p>
        </p:txBody>
      </p:sp>
    </p:spTree>
    <p:extLst>
      <p:ext uri="{BB962C8B-B14F-4D97-AF65-F5344CB8AC3E}">
        <p14:creationId xmlns:p14="http://schemas.microsoft.com/office/powerpoint/2010/main" val="16106669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89944CD-C116-E0F7-526D-F2C173E86AE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2C67226-742E-07E6-8A62-9BB7FB9564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57369" y="530076"/>
            <a:ext cx="6077262" cy="5797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18551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66F9788-D821-CF84-C0E0-C0264FAB5B2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7</a:t>
            </a:fld>
            <a:endParaRPr lang="en-IN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9C9126A-826E-0FB7-2D88-A938FE96A7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7390" y="539750"/>
            <a:ext cx="11783505" cy="5778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12464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0586F1A-81CF-8DEB-D427-FDAF1D2BB9E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B56A7B9-9630-1C06-D33A-7DBD8FE266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8475" y="539601"/>
            <a:ext cx="9735050" cy="577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3496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62D3E43-DBE2-89DB-54CD-E06228B390E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743ED99-BD34-4CCF-C70C-3DA431753E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536" y="520700"/>
            <a:ext cx="11849493" cy="5816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08255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HINKCELLUNDODONOTDELETE" val="0"/>
  <p:tag name="TEMPLATELASTEDITED" val="2022-01-18 06:01 PM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62</TotalTime>
  <Words>375</Words>
  <Application>Microsoft Office PowerPoint</Application>
  <PresentationFormat>Widescreen</PresentationFormat>
  <Paragraphs>53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Bogle</vt:lpstr>
      <vt:lpstr>Calibri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abaresh Rao [UNext]</dc:creator>
  <cp:lastModifiedBy>Basisttha Sanjay Kumar</cp:lastModifiedBy>
  <cp:revision>19</cp:revision>
  <dcterms:created xsi:type="dcterms:W3CDTF">2022-01-18T12:35:56Z</dcterms:created>
  <dcterms:modified xsi:type="dcterms:W3CDTF">2025-08-22T08:16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MSIP_Label_b24820e8-223f-4ed2-bd95-81c83f641284_Enabled">
    <vt:lpwstr>true</vt:lpwstr>
  </property>
  <property fmtid="{D5CDD505-2E9C-101B-9397-08002B2CF9AE}" pid="5" name="MSIP_Label_b24820e8-223f-4ed2-bd95-81c83f641284_SetDate">
    <vt:lpwstr>2023-03-31T12:54:31Z</vt:lpwstr>
  </property>
  <property fmtid="{D5CDD505-2E9C-101B-9397-08002B2CF9AE}" pid="6" name="MSIP_Label_b24820e8-223f-4ed2-bd95-81c83f641284_Method">
    <vt:lpwstr>Standard</vt:lpwstr>
  </property>
  <property fmtid="{D5CDD505-2E9C-101B-9397-08002B2CF9AE}" pid="7" name="MSIP_Label_b24820e8-223f-4ed2-bd95-81c83f641284_Name">
    <vt:lpwstr>b24820e8-223f-4ed2-bd95-81c83f641284</vt:lpwstr>
  </property>
  <property fmtid="{D5CDD505-2E9C-101B-9397-08002B2CF9AE}" pid="8" name="MSIP_Label_b24820e8-223f-4ed2-bd95-81c83f641284_SiteId">
    <vt:lpwstr>3cbcc3d3-094d-4006-9849-0d11d61f484d</vt:lpwstr>
  </property>
  <property fmtid="{D5CDD505-2E9C-101B-9397-08002B2CF9AE}" pid="9" name="MSIP_Label_b24820e8-223f-4ed2-bd95-81c83f641284_ActionId">
    <vt:lpwstr>d0f62293-71f8-4d01-ae80-b41ff82d53b7</vt:lpwstr>
  </property>
  <property fmtid="{D5CDD505-2E9C-101B-9397-08002B2CF9AE}" pid="10" name="MSIP_Label_b24820e8-223f-4ed2-bd95-81c83f641284_ContentBits">
    <vt:lpwstr>0</vt:lpwstr>
  </property>
</Properties>
</file>